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6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0"/>
  </p:notesMasterIdLst>
  <p:handoutMasterIdLst>
    <p:handoutMasterId r:id="rId11"/>
  </p:handoutMasterIdLst>
  <p:sldIdLst>
    <p:sldId id="311" r:id="rId4"/>
    <p:sldId id="340" r:id="rId5"/>
    <p:sldId id="366" r:id="rId6"/>
    <p:sldId id="379" r:id="rId7"/>
    <p:sldId id="329" r:id="rId8"/>
    <p:sldId id="349" r:id="rId9"/>
  </p:sldIdLst>
  <p:sldSz cx="9906000" cy="6858000" type="A4"/>
  <p:notesSz cx="6896100" cy="10033000"/>
  <p:custDataLst>
    <p:tags r:id="rId12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2" autoAdjust="0"/>
    <p:restoredTop sz="93861" autoAdjust="0"/>
  </p:normalViewPr>
  <p:slideViewPr>
    <p:cSldViewPr>
      <p:cViewPr varScale="1">
        <p:scale>
          <a:sx n="83" d="100"/>
          <a:sy n="83" d="100"/>
        </p:scale>
        <p:origin x="-1464" y="-19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/27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4-pl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4-pl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4-pl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4-pl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4-pl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4-pl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4-pl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Excercise4-pl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60.xml"/><Relationship Id="rId7" Type="http://schemas.openxmlformats.org/officeDocument/2006/relationships/image" Target="../media/image1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9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1.png"/><Relationship Id="rId2" Type="http://schemas.openxmlformats.org/officeDocument/2006/relationships/tags" Target="../tags/tag6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0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5.vml"/><Relationship Id="rId4" Type="http://schemas.openxmlformats.org/officeDocument/2006/relationships/oleObject" Target="../embeddings/oleObject2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4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6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690" y="1844780"/>
            <a:ext cx="9906000" cy="1944270"/>
          </a:xfrm>
        </p:spPr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</a:t>
            </a:r>
            <a:r>
              <a:rPr lang="en-US" sz="4400" dirty="0" err="1" smtClean="0">
                <a:effectLst/>
                <a:latin typeface="Comic Sans MS"/>
              </a:rPr>
              <a:t>Zadanie</a:t>
            </a:r>
            <a:r>
              <a:rPr lang="en-US" sz="4400" dirty="0" smtClean="0">
                <a:effectLst/>
                <a:latin typeface="Comic Sans MS"/>
              </a:rPr>
              <a:t> 4</a:t>
            </a:r>
            <a:endParaRPr lang="en-GB" dirty="0"/>
          </a:p>
        </p:txBody>
      </p:sp>
      <p:pic>
        <p:nvPicPr>
          <p:cNvPr id="75779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72350" y="5373270"/>
            <a:ext cx="3024420" cy="1017562"/>
          </a:xfrm>
          <a:prstGeom prst="rect">
            <a:avLst/>
          </a:prstGeom>
          <a:noFill/>
        </p:spPr>
      </p:pic>
      <p:pic>
        <p:nvPicPr>
          <p:cNvPr id="75780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1588770" cy="1714500"/>
          </a:xfrm>
          <a:prstGeom prst="rect">
            <a:avLst/>
          </a:prstGeom>
          <a:noFill/>
        </p:spPr>
      </p:pic>
      <p:sp>
        <p:nvSpPr>
          <p:cNvPr id="11" name="Title 9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5690" y="2276840"/>
            <a:ext cx="9906000" cy="1944270"/>
          </a:xfrm>
          <a:prstGeom prst="rect">
            <a:avLst/>
          </a:prstGeom>
        </p:spPr>
        <p:txBody>
          <a:bodyPr vert="horz" lIns="36000" tIns="36000" rIns="360000" bIns="36000" rtlCol="0" anchor="ctr">
            <a:noAutofit/>
          </a:bodyPr>
          <a:lstStyle/>
          <a:p>
            <a:pPr marL="0" marR="0" lvl="0" indent="0" algn="l" defTabSz="9956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      </a:t>
            </a:r>
            <a:r>
              <a:rPr kumimoji="0" lang="de-DE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Za</a:t>
            </a:r>
            <a:r>
              <a:rPr kumimoji="0" lang="pl-PL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d</a:t>
            </a:r>
            <a:r>
              <a:rPr kumimoji="0" lang="de-DE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ania</a:t>
            </a:r>
            <a:r>
              <a:rPr kumimoji="0" lang="de-DE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</a:t>
            </a:r>
            <a:r>
              <a:rPr kumimoji="0" lang="de-DE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zaawansowane</a:t>
            </a: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omic Sans MS" pitchFamily="66" charset="0"/>
              <a:ea typeface="+mj-ea"/>
              <a:cs typeface="+mj-cs"/>
            </a:endParaRPr>
          </a:p>
        </p:txBody>
      </p:sp>
      <p:pic>
        <p:nvPicPr>
          <p:cNvPr id="8" name="Picture 6" descr="Warsztat 10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011355" y="4365130"/>
            <a:ext cx="1838325" cy="18288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Wskazówki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4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9217280" cy="18722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konaj wszystkie ćwiczenia krok po kroku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 ćwiczeniach możesz posiłkować się w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y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rukowanymi kartami (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cratch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ard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Jeśli potrzebujesz pomocy, poproś prowadzącego.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6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160890" y="486920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40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1. Dodaj </a:t>
            </a:r>
            <a:r>
              <a:rPr lang="de-DE" dirty="0" err="1" smtClean="0"/>
              <a:t>wi</a:t>
            </a:r>
            <a:r>
              <a:rPr lang="pl-PL" dirty="0" err="1" smtClean="0"/>
              <a:t>ęcej</a:t>
            </a:r>
            <a:r>
              <a:rPr lang="pl-PL" dirty="0" smtClean="0"/>
              <a:t> monet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4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mień skrypt monety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tak,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aby po starcie (zielona flaga) powstało 5 klonów monety oddalonych od siebie w pewnej odległości. Każdy z klonów powinien zachowywać się dokładnie tak samo jak moneta zachowuje się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obecnie.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648680" y="3429000"/>
            <a:ext cx="4533900" cy="217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883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2. Zliczaj zdobyte monety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4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odaj nową zmienną do zliczania monet zdobytych przez kotka. Ustaw wartość początkową na 0. Za każdym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razem,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gdy kotek dotknie monety zwiększaj wartość zmiennej o 1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mień skrypt kotka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tak,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aby kotek wołał „Hura, wygrałem“ dopiero po zebraniu wszystkich monet. Wtedy też powinien być zapisywany czas od rozpoczęcia gry w zmiennej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tempo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48835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72350" y="4047772"/>
            <a:ext cx="4752660" cy="2189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8836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241040" y="4077090"/>
            <a:ext cx="4448213" cy="2160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72</Words>
  <Application>Microsoft Office PowerPoint</Application>
  <PresentationFormat>A4 Paper (210x297 mm)</PresentationFormat>
  <Paragraphs>27</Paragraphs>
  <Slides>6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Blank</vt:lpstr>
      <vt:lpstr>Closing slides</vt:lpstr>
      <vt:lpstr>Section break</vt:lpstr>
      <vt:lpstr>think-cell Slide</vt:lpstr>
      <vt:lpstr>       Zadanie 4</vt:lpstr>
      <vt:lpstr>Wskazówki</vt:lpstr>
      <vt:lpstr>Krok 1. Dodaj więcej monet</vt:lpstr>
      <vt:lpstr>Krok 2. Zliczaj zdobyte monety</vt:lpstr>
      <vt:lpstr>Slide 5</vt:lpstr>
      <vt:lpstr>Slide 6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ZPACHOLC</cp:lastModifiedBy>
  <cp:revision>162</cp:revision>
  <dcterms:created xsi:type="dcterms:W3CDTF">2014-10-21T19:55:20Z</dcterms:created>
  <dcterms:modified xsi:type="dcterms:W3CDTF">2015-01-27T18:37:20Z</dcterms:modified>
</cp:coreProperties>
</file>